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tags/tag6.xml" ContentType="application/vnd.openxmlformats-officedocument.presentationml.tags+xml"/>
  <Override PartName="/ppt/charts/chart5.xml" ContentType="application/vnd.openxmlformats-officedocument.drawingml.chart+xml"/>
  <Override PartName="/ppt/notesSlides/notesSlide9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39" r:id="rId1"/>
  </p:sldMasterIdLst>
  <p:notesMasterIdLst>
    <p:notesMasterId r:id="rId22"/>
  </p:notesMasterIdLst>
  <p:handoutMasterIdLst>
    <p:handoutMasterId r:id="rId23"/>
  </p:handoutMasterIdLst>
  <p:sldIdLst>
    <p:sldId id="606" r:id="rId2"/>
    <p:sldId id="600" r:id="rId3"/>
    <p:sldId id="617" r:id="rId4"/>
    <p:sldId id="611" r:id="rId5"/>
    <p:sldId id="638" r:id="rId6"/>
    <p:sldId id="613" r:id="rId7"/>
    <p:sldId id="612" r:id="rId8"/>
    <p:sldId id="627" r:id="rId9"/>
    <p:sldId id="626" r:id="rId10"/>
    <p:sldId id="628" r:id="rId11"/>
    <p:sldId id="625" r:id="rId12"/>
    <p:sldId id="637" r:id="rId13"/>
    <p:sldId id="635" r:id="rId14"/>
    <p:sldId id="636" r:id="rId15"/>
    <p:sldId id="641" r:id="rId16"/>
    <p:sldId id="632" r:id="rId17"/>
    <p:sldId id="616" r:id="rId18"/>
    <p:sldId id="640" r:id="rId19"/>
    <p:sldId id="610" r:id="rId20"/>
    <p:sldId id="629" r:id="rId21"/>
  </p:sldIdLst>
  <p:sldSz cx="9144000" cy="6858000" type="screen4x3"/>
  <p:notesSz cx="6669088" cy="9926638"/>
  <p:embeddedFontLst>
    <p:embeddedFont>
      <p:font typeface="Calibri" panose="020F0502020204030204" pitchFamily="34" charset="0"/>
      <p:regular r:id="rId24"/>
      <p:bold r:id="rId25"/>
      <p:italic r:id="rId26"/>
      <p:boldItalic r:id="rId27"/>
    </p:embeddedFont>
    <p:embeddedFont>
      <p:font typeface="Calibri Light" panose="020F0302020204030204" pitchFamily="34" charset="0"/>
      <p:regular r:id="rId28"/>
      <p:italic r:id="rId29"/>
    </p:embeddedFont>
    <p:embeddedFont>
      <p:font typeface="Bebas Neue" panose="020B0506020202020201" charset="0"/>
      <p:regular r:id="rId30"/>
    </p:embeddedFont>
  </p:embeddedFontLst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657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pos="7252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orient="horz">
          <p15:clr>
            <a:srgbClr val="A4A3A4"/>
          </p15:clr>
        </p15:guide>
        <p15:guide id="6">
          <p15:clr>
            <a:srgbClr val="A4A3A4"/>
          </p15:clr>
        </p15:guide>
        <p15:guide id="7" orient="horz" pos="3955">
          <p15:clr>
            <a:srgbClr val="A4A3A4"/>
          </p15:clr>
        </p15:guide>
        <p15:guide id="8" orient="horz" pos="945">
          <p15:clr>
            <a:srgbClr val="A4A3A4"/>
          </p15:clr>
        </p15:guide>
        <p15:guide id="9" pos="246">
          <p15:clr>
            <a:srgbClr val="A4A3A4"/>
          </p15:clr>
        </p15:guide>
        <p15:guide id="10" pos="54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" initials="T" lastIdx="6" clrIdx="0"/>
  <p:cmAuthor id="1" name="Rubino, Malena (GfK)" initials="MR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595959"/>
    <a:srgbClr val="FFFFFF"/>
    <a:srgbClr val="F2F2F2"/>
    <a:srgbClr val="404040"/>
    <a:srgbClr val="000000"/>
    <a:srgbClr val="262626"/>
    <a:srgbClr val="D9D9D9"/>
    <a:srgbClr val="7F7F7F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82" autoAdjust="0"/>
    <p:restoredTop sz="86675" autoAdjust="0"/>
  </p:normalViewPr>
  <p:slideViewPr>
    <p:cSldViewPr snapToGrid="0" snapToObjects="1" showGuides="1">
      <p:cViewPr varScale="1">
        <p:scale>
          <a:sx n="70" d="100"/>
          <a:sy n="70" d="100"/>
        </p:scale>
        <p:origin x="-1566" y="-96"/>
      </p:cViewPr>
      <p:guideLst>
        <p:guide orient="horz" pos="3657"/>
        <p:guide orient="horz" pos="1185"/>
        <p:guide orient="horz"/>
        <p:guide orient="horz" pos="3955"/>
        <p:guide orient="horz" pos="945"/>
        <p:guide pos="438"/>
        <p:guide pos="7252"/>
        <p:guide/>
        <p:guide pos="246"/>
        <p:guide pos="5494"/>
      </p:guideLst>
    </p:cSldViewPr>
  </p:slideViewPr>
  <p:outlineViewPr>
    <p:cViewPr>
      <p:scale>
        <a:sx n="33" d="100"/>
        <a:sy n="33" d="100"/>
      </p:scale>
      <p:origin x="0" y="2761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70" d="100"/>
        <a:sy n="170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-3942" y="-90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3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2.fntdata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.fntdata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49906220954932257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4B8-4C7D-8315-702DC02FE437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24B8-4C7D-8315-702DC02FE437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24B8-4C7D-8315-702DC02FE437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24B8-4C7D-8315-702DC02FE437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24B8-4C7D-8315-702DC02FE437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24B8-4C7D-8315-702DC02FE43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Sheet1!$B$2:$L$2</c:f>
              <c:numCache>
                <c:formatCode>0%</c:formatCode>
                <c:ptCount val="11"/>
                <c:pt idx="0">
                  <c:v>0.65</c:v>
                </c:pt>
                <c:pt idx="1">
                  <c:v>0.67</c:v>
                </c:pt>
                <c:pt idx="2">
                  <c:v>0.66</c:v>
                </c:pt>
                <c:pt idx="3">
                  <c:v>0.64</c:v>
                </c:pt>
                <c:pt idx="4">
                  <c:v>0.61</c:v>
                </c:pt>
                <c:pt idx="5">
                  <c:v>0.09</c:v>
                </c:pt>
                <c:pt idx="6">
                  <c:v>0.59</c:v>
                </c:pt>
                <c:pt idx="7">
                  <c:v>0.59</c:v>
                </c:pt>
                <c:pt idx="8">
                  <c:v>0.57999999999999996</c:v>
                </c:pt>
                <c:pt idx="9">
                  <c:v>0.54</c:v>
                </c:pt>
                <c:pt idx="10">
                  <c:v>0.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24B8-4C7D-8315-702DC02F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5579264"/>
        <c:axId val="85581184"/>
      </c:barChart>
      <c:catAx>
        <c:axId val="8557926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85581184"/>
        <c:crosses val="autoZero"/>
        <c:auto val="1"/>
        <c:lblAlgn val="ctr"/>
        <c:lblOffset val="20"/>
        <c:noMultiLvlLbl val="0"/>
      </c:catAx>
      <c:valAx>
        <c:axId val="85581184"/>
        <c:scaling>
          <c:orientation val="minMax"/>
          <c:max val="0.7500000000000001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8557926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26345511313778563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C58-450D-88D2-BA37DA8599D9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C58-450D-88D2-BA37DA8599D9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DC58-450D-88D2-BA37DA8599D9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DC58-450D-88D2-BA37DA8599D9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DC58-450D-88D2-BA37DA8599D9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DC58-450D-88D2-BA37DA8599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M$1</c:f>
              <c:numCache>
                <c:formatCode>General</c:formatCode>
                <c:ptCount val="12"/>
                <c:pt idx="0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</c:numCache>
            </c:numRef>
          </c:cat>
          <c:val>
            <c:numRef>
              <c:f>Sheet1!$B$2:$M$2</c:f>
              <c:numCache>
                <c:formatCode>0%</c:formatCode>
                <c:ptCount val="12"/>
                <c:pt idx="0">
                  <c:v>0.11</c:v>
                </c:pt>
                <c:pt idx="1">
                  <c:v>0.12</c:v>
                </c:pt>
                <c:pt idx="2">
                  <c:v>0.12</c:v>
                </c:pt>
                <c:pt idx="3">
                  <c:v>0.11</c:v>
                </c:pt>
                <c:pt idx="4">
                  <c:v>0.12</c:v>
                </c:pt>
                <c:pt idx="5">
                  <c:v>0.1</c:v>
                </c:pt>
                <c:pt idx="6">
                  <c:v>0.13</c:v>
                </c:pt>
                <c:pt idx="7">
                  <c:v>0.12</c:v>
                </c:pt>
                <c:pt idx="8">
                  <c:v>0.1</c:v>
                </c:pt>
                <c:pt idx="9">
                  <c:v>0.15</c:v>
                </c:pt>
                <c:pt idx="10">
                  <c:v>0.14000000000000001</c:v>
                </c:pt>
                <c:pt idx="11">
                  <c:v>0.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DC58-450D-88D2-BA37DA8599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98285056"/>
        <c:axId val="101937536"/>
      </c:barChart>
      <c:catAx>
        <c:axId val="98285056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01937536"/>
        <c:crosses val="autoZero"/>
        <c:auto val="1"/>
        <c:lblAlgn val="ctr"/>
        <c:lblOffset val="20"/>
        <c:noMultiLvlLbl val="0"/>
      </c:catAx>
      <c:valAx>
        <c:axId val="101937536"/>
        <c:scaling>
          <c:orientation val="minMax"/>
          <c:max val="0.2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982850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96701103287927E-4"/>
          <c:y val="7.5400188323917138E-4"/>
          <c:w val="0.25874297120955486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31D-4F50-8DF0-F0B13F400A2D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B31D-4F50-8DF0-F0B13F400A2D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B31D-4F50-8DF0-F0B13F400A2D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B31D-4F50-8DF0-F0B13F400A2D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B31D-4F50-8DF0-F0B13F400A2D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B31D-4F50-8DF0-F0B13F400A2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2400" b="0" i="0" u="none" strike="noStrike" kern="1200" baseline="0">
                    <a:solidFill>
                      <a:srgbClr val="595959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  <c:pt idx="0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Sheet1!$B$2:$K$2</c:f>
              <c:numCache>
                <c:formatCode>0%</c:formatCode>
                <c:ptCount val="10"/>
                <c:pt idx="0">
                  <c:v>0.1</c:v>
                </c:pt>
                <c:pt idx="1">
                  <c:v>0.13</c:v>
                </c:pt>
                <c:pt idx="2">
                  <c:v>0.11</c:v>
                </c:pt>
                <c:pt idx="3">
                  <c:v>0.15</c:v>
                </c:pt>
                <c:pt idx="4">
                  <c:v>0.14000000000000001</c:v>
                </c:pt>
                <c:pt idx="5">
                  <c:v>0.09</c:v>
                </c:pt>
                <c:pt idx="6">
                  <c:v>0.09</c:v>
                </c:pt>
                <c:pt idx="7">
                  <c:v>0.08</c:v>
                </c:pt>
                <c:pt idx="8">
                  <c:v>0.06</c:v>
                </c:pt>
                <c:pt idx="9">
                  <c:v>0.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B31D-4F50-8DF0-F0B13F400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1667968"/>
        <c:axId val="121670272"/>
      </c:barChart>
      <c:catAx>
        <c:axId val="121667968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121670272"/>
        <c:crosses val="autoZero"/>
        <c:auto val="1"/>
        <c:lblAlgn val="ctr"/>
        <c:lblOffset val="20"/>
        <c:noMultiLvlLbl val="0"/>
      </c:catAx>
      <c:valAx>
        <c:axId val="121670272"/>
        <c:scaling>
          <c:orientation val="minMax"/>
          <c:max val="0.25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12166796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7.5400188323917138E-4"/>
          <c:w val="0.87971996779904649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0DC6-4E34-A286-A73670452CCD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0DC6-4E34-A286-A73670452CCD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76200" cap="flat">
                <a:noFill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DC6-4E34-A286-A73670452CCD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0DC6-4E34-A286-A73670452CCD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0DC6-4E34-A286-A73670452CCD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0DC6-4E34-A286-A73670452C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2:$F$2</c:f>
              <c:numCache>
                <c:formatCode>0%</c:formatCode>
                <c:ptCount val="5"/>
                <c:pt idx="0">
                  <c:v>0.89170000000000005</c:v>
                </c:pt>
                <c:pt idx="1">
                  <c:v>0.91959999999999997</c:v>
                </c:pt>
                <c:pt idx="2">
                  <c:v>0.9234</c:v>
                </c:pt>
                <c:pt idx="3">
                  <c:v>0.94769999999999999</c:v>
                </c:pt>
                <c:pt idx="4">
                  <c:v>0.9587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0DC6-4E34-A286-A73670452C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4086144"/>
        <c:axId val="294102912"/>
      </c:barChart>
      <c:catAx>
        <c:axId val="29408614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294102912"/>
        <c:crosses val="autoZero"/>
        <c:auto val="1"/>
        <c:lblAlgn val="ctr"/>
        <c:lblOffset val="20"/>
        <c:noMultiLvlLbl val="0"/>
      </c:catAx>
      <c:valAx>
        <c:axId val="294102912"/>
        <c:scaling>
          <c:orientation val="minMax"/>
          <c:max val="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2940861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880605884066414"/>
          <c:y val="7.5396683418576377E-4"/>
          <c:w val="0.67551366152053594"/>
          <c:h val="0.998841012184588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rgbClr val="0070C0"/>
            </a:solidFill>
            <a:ln w="76200" cap="flat">
              <a:noFill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0DC6-4E34-A286-A73670452CCD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0DC6-4E34-A286-A73670452CCD}"/>
              </c:ext>
            </c:extLst>
          </c:dPt>
          <c:dPt>
            <c:idx val="2"/>
            <c:invertIfNegative val="0"/>
            <c:bubble3D val="0"/>
            <c:spPr>
              <a:solidFill>
                <a:srgbClr val="0070C0"/>
              </a:solidFill>
              <a:ln w="76200" cap="flat">
                <a:noFill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DC6-4E34-A286-A73670452CCD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0DC6-4E34-A286-A73670452CCD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0DC6-4E34-A286-A73670452CCD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0DC6-4E34-A286-A73670452CCD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/>
              </a:solidFill>
              <a:ln w="76200" cap="flat">
                <a:noFill/>
                <a:miter lim="800000"/>
              </a:ln>
              <a:effectLst/>
            </c:spPr>
          </c:dPt>
          <c:dPt>
            <c:idx val="12"/>
            <c:invertIfNegative val="0"/>
            <c:bubble3D val="0"/>
            <c:spPr>
              <a:solidFill>
                <a:schemeClr val="accent6"/>
              </a:solidFill>
              <a:ln w="76200" cap="flat">
                <a:noFill/>
                <a:miter lim="800000"/>
              </a:ln>
              <a:effectLst/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M$1</c:f>
              <c:numCache>
                <c:formatCode>General</c:formatCode>
                <c:ptCount val="12"/>
              </c:numCache>
            </c:numRef>
          </c:cat>
          <c:val>
            <c:numRef>
              <c:f>Sheet1!$B$2:$M$2</c:f>
              <c:numCache>
                <c:formatCode>0%</c:formatCode>
                <c:ptCount val="12"/>
                <c:pt idx="0">
                  <c:v>-0.21</c:v>
                </c:pt>
                <c:pt idx="1">
                  <c:v>-7.6999999999999999E-2</c:v>
                </c:pt>
                <c:pt idx="2">
                  <c:v>-9.1999999999999998E-2</c:v>
                </c:pt>
                <c:pt idx="3">
                  <c:v>-9.6000000000000002E-2</c:v>
                </c:pt>
                <c:pt idx="4">
                  <c:v>-0.09</c:v>
                </c:pt>
                <c:pt idx="5">
                  <c:v>-0.12</c:v>
                </c:pt>
                <c:pt idx="6">
                  <c:v>-0.105</c:v>
                </c:pt>
                <c:pt idx="7">
                  <c:v>-9.6000000000000002E-2</c:v>
                </c:pt>
                <c:pt idx="8">
                  <c:v>-0.11</c:v>
                </c:pt>
                <c:pt idx="9">
                  <c:v>-6.6000000000000003E-2</c:v>
                </c:pt>
                <c:pt idx="10">
                  <c:v>0</c:v>
                </c:pt>
                <c:pt idx="11">
                  <c:v>3.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0DC6-4E34-A286-A73670452C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84749184"/>
        <c:axId val="285316224"/>
      </c:barChart>
      <c:catAx>
        <c:axId val="28474918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285316224"/>
        <c:crosses val="autoZero"/>
        <c:auto val="1"/>
        <c:lblAlgn val="ctr"/>
        <c:lblOffset val="20"/>
        <c:noMultiLvlLbl val="0"/>
      </c:catAx>
      <c:valAx>
        <c:axId val="285316224"/>
        <c:scaling>
          <c:orientation val="minMax"/>
          <c:max val="0.1"/>
          <c:min val="-0.25"/>
        </c:scaling>
        <c:delete val="1"/>
        <c:axPos val="b"/>
        <c:numFmt formatCode="General" sourceLinked="0"/>
        <c:majorTickMark val="out"/>
        <c:minorTickMark val="none"/>
        <c:tickLblPos val="nextTo"/>
        <c:crossAx val="28474918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solidFill>
            <a:sysClr val="windowText" lastClr="000000"/>
          </a:solidFill>
        </a:defRPr>
      </a:pPr>
      <a:endParaRPr lang="en-US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12-09T03:56:29.912" idx="6">
    <p:pos x="10" y="10"/>
    <p:text>Model does not fit well.  Look at add'l variables, similar to prior model.</p:tex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1D39F0-67F7-47CA-98D5-0127F7C14ECB}" type="datetimeFigureOut">
              <a:rPr lang="de-DE" smtClean="0"/>
              <a:t>09.1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C595F-8E4E-4171-A522-0BBDA941FAC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245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C9874-DE1E-48CB-A603-4C70CD126593}" type="datetimeFigureOut">
              <a:rPr lang="de-DE" smtClean="0"/>
              <a:pPr/>
              <a:t>09.12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744538"/>
            <a:ext cx="4964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CEB38-DA38-4F43-AFB8-94FE45CA586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97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4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5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6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7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8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9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0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2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US" sz="1300" smtClean="0"/>
              <a:pPr algn="r" defTabSz="947738"/>
              <a:t>15</a:t>
            </a:fld>
            <a:endParaRPr lang="en-US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33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1" y="0"/>
            <a:ext cx="9143998" cy="5803200"/>
          </a:xfrm>
          <a:prstGeom prst="rect">
            <a:avLst/>
          </a:prstGeom>
          <a:solidFill>
            <a:srgbClr val="29292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defTabSz="914309"/>
            <a:endParaRPr lang="de-DE" sz="1900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783384" y="1"/>
            <a:ext cx="7577234" cy="37414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8800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783384" y="3741442"/>
            <a:ext cx="7577234" cy="2061759"/>
          </a:xfrm>
          <a:prstGeom prst="rect">
            <a:avLst/>
          </a:prstGeo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4400">
                <a:solidFill>
                  <a:srgbClr val="B2B2B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6374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000000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7F7F7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5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4D4D4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>
            <a:lvl1pPr>
              <a:defRPr sz="3800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5583" y="942478"/>
            <a:ext cx="8322755" cy="541474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200">
                <a:solidFill>
                  <a:srgbClr val="FFFFFF"/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62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0926CC-E1C3-4738-BF04-68594B3D56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069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51" r:id="rId2"/>
    <p:sldLayoutId id="2147483757" r:id="rId3"/>
    <p:sldLayoutId id="214748375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chart" Target="../charts/chart4.xml"/><Relationship Id="rId4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nding Club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3767" y="3741442"/>
            <a:ext cx="8005776" cy="2061759"/>
          </a:xfrm>
        </p:spPr>
        <p:txBody>
          <a:bodyPr/>
          <a:lstStyle/>
          <a:p>
            <a:r>
              <a:rPr lang="en-US" dirty="0" smtClean="0"/>
              <a:t>How to Get a </a:t>
            </a:r>
            <a:r>
              <a:rPr lang="en-US" dirty="0" smtClean="0"/>
              <a:t>Loan: An Exploration with Logistic Regression</a:t>
            </a:r>
            <a:endParaRPr lang="en-US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354842" y="6032310"/>
            <a:ext cx="49268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y </a:t>
            </a:r>
            <a:r>
              <a:rPr lang="en-US" dirty="0" err="1" smtClean="0"/>
              <a:t>Tianhong</a:t>
            </a:r>
            <a:r>
              <a:rPr lang="en-US" dirty="0" smtClean="0"/>
              <a:t> Ding &amp; William Raik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083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iagnostics – Fitting A Logistic Regres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10863" y="1604242"/>
            <a:ext cx="2873526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Multicollinearity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39352"/>
              </p:ext>
            </p:extLst>
          </p:nvPr>
        </p:nvGraphicFramePr>
        <p:xfrm>
          <a:off x="436728" y="1932530"/>
          <a:ext cx="2934269" cy="268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39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802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11042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VIF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42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 Loan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54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teraction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85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Year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02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State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00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0393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Employment Length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01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2800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Month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02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3521122" y="1620859"/>
            <a:ext cx="5459095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Goodness of Fit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Interaction LR Test:		p-value &lt; 0.001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McFadden’s </a:t>
            </a:r>
            <a:r>
              <a:rPr lang="en-US" altLang="en-US" sz="1800" dirty="0" smtClean="0"/>
              <a:t>R2:	</a:t>
            </a:r>
            <a:r>
              <a:rPr lang="en-US" altLang="en-US" sz="1800" dirty="0" smtClean="0"/>
              <a:t>	0.503</a:t>
            </a:r>
            <a:endParaRPr lang="en-US" altLang="en-US" sz="1800" dirty="0" smtClean="0"/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3521122" y="2854037"/>
            <a:ext cx="5459095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Influential Points (Cook’s Distance)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Zero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1.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~7% of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4/n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Removing influential pts. decrease AIC by 6.3%.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Practical and statistical significance remain unchanged.</a:t>
            </a:r>
          </a:p>
        </p:txBody>
      </p:sp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Prediction: What About the Performance?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55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Predic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17135"/>
              </p:ext>
            </p:extLst>
          </p:nvPr>
        </p:nvGraphicFramePr>
        <p:xfrm>
          <a:off x="3736640" y="1471363"/>
          <a:ext cx="1721591" cy="46498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15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err="1" smtClean="0">
                          <a:solidFill>
                            <a:schemeClr val="tx2"/>
                          </a:solidFill>
                        </a:rPr>
                        <a:t>XGBoos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Random Fores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ogistic Regression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Generalized</a:t>
                      </a:r>
                      <a:r>
                        <a:rPr lang="en-US" sz="1400" b="1" baseline="0" dirty="0" smtClean="0">
                          <a:solidFill>
                            <a:schemeClr val="tx2"/>
                          </a:solidFill>
                        </a:rPr>
                        <a:t> Additive Model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29963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inear Discriminant</a:t>
                      </a:r>
                      <a:r>
                        <a:rPr lang="en-US" sz="1400" b="1" baseline="0" dirty="0" smtClean="0">
                          <a:solidFill>
                            <a:schemeClr val="tx2"/>
                          </a:solidFill>
                        </a:rPr>
                        <a:t> Analysis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aphicFrame>
        <p:nvGraphicFramePr>
          <p:cNvPr id="7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8773949"/>
              </p:ext>
            </p:extLst>
          </p:nvPr>
        </p:nvGraphicFramePr>
        <p:xfrm>
          <a:off x="5465302" y="1512483"/>
          <a:ext cx="327319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16631" y="1604702"/>
            <a:ext cx="3345436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err="1" smtClean="0"/>
              <a:t>XGBoost</a:t>
            </a:r>
            <a:r>
              <a:rPr lang="en-US" altLang="en-US" sz="2000" dirty="0" smtClean="0"/>
              <a:t> performs the best, with the highest ROC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Random Forest comes in a close second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Logistic Regression is not far behind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Generalized Additive Model and LDA perform slightly worse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 smtClean="0"/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/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4744993" y="774903"/>
            <a:ext cx="4015946" cy="110165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 algn="ctr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b="1" dirty="0" smtClean="0">
                <a:solidFill>
                  <a:schemeClr val="accent2"/>
                </a:solidFill>
              </a:rPr>
              <a:t>5 Fold Cross Validated ROC Metrics </a:t>
            </a:r>
          </a:p>
          <a:p>
            <a:pPr marL="107950" indent="0" algn="ctr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b="1" dirty="0" smtClean="0">
                <a:solidFill>
                  <a:schemeClr val="accent2"/>
                </a:solidFill>
              </a:rPr>
              <a:t>(Means)</a:t>
            </a:r>
            <a:endParaRPr lang="en-US" altLang="en-US" sz="2000" b="1" dirty="0" smtClean="0">
              <a:solidFill>
                <a:schemeClr val="accent2"/>
              </a:solidFill>
            </a:endParaRPr>
          </a:p>
          <a:p>
            <a:pPr marL="107950" indent="0" algn="ctr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208041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</a:t>
            </a:r>
            <a:r>
              <a:rPr lang="en-US" sz="3000" b="1" dirty="0" smtClean="0">
                <a:solidFill>
                  <a:schemeClr val="bg1"/>
                </a:solidFill>
              </a:rPr>
              <a:t>Validation: Did They Get it Right?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34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15584" y="410830"/>
            <a:ext cx="8322913" cy="1073122"/>
          </a:xfrm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validation</a:t>
            </a:r>
            <a:endParaRPr lang="en-US" dirty="0"/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415583" y="942478"/>
            <a:ext cx="8322755" cy="541474"/>
          </a:xfrm>
        </p:spPr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216631" y="1604702"/>
            <a:ext cx="3345436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Debt-to-Income ratio </a:t>
            </a:r>
            <a:r>
              <a:rPr lang="en-US" altLang="en-US" sz="2000" dirty="0" smtClean="0"/>
              <a:t>seems to have a similar impact on default rate as it does to rejection status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/>
              <a:t>E</a:t>
            </a:r>
            <a:r>
              <a:rPr lang="en-US" altLang="en-US" sz="2000" dirty="0" smtClean="0"/>
              <a:t>mployment length does have a negative impact on default rates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2000" dirty="0" smtClean="0"/>
              <a:t>Could be an </a:t>
            </a:r>
            <a:r>
              <a:rPr lang="en-US" altLang="en-US" sz="2000" dirty="0" smtClean="0"/>
              <a:t>opportunity for more loans to people with less than a year’s worth of employment. (Less than 1% of people in this category were not rejected)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 smtClean="0"/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2000" dirty="0"/>
          </a:p>
        </p:txBody>
      </p:sp>
      <p:sp>
        <p:nvSpPr>
          <p:cNvPr id="11" name="TextBox 10"/>
          <p:cNvSpPr txBox="1"/>
          <p:nvPr/>
        </p:nvSpPr>
        <p:spPr>
          <a:xfrm>
            <a:off x="4336937" y="407695"/>
            <a:ext cx="41044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2"/>
                </a:solidFill>
              </a:rPr>
              <a:t>Percentage Increase (Decrease) in Odds-Ratio for Likelihood to Default</a:t>
            </a:r>
            <a:endParaRPr lang="en-US" dirty="0">
              <a:solidFill>
                <a:schemeClr val="accent2"/>
              </a:solidFill>
            </a:endParaRPr>
          </a:p>
        </p:txBody>
      </p:sp>
      <p:graphicFrame>
        <p:nvGraphicFramePr>
          <p:cNvPr id="13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3367085"/>
              </p:ext>
            </p:extLst>
          </p:nvPr>
        </p:nvGraphicFramePr>
        <p:xfrm>
          <a:off x="3725101" y="1118044"/>
          <a:ext cx="4291250" cy="4974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1944668"/>
              </p:ext>
            </p:extLst>
          </p:nvPr>
        </p:nvGraphicFramePr>
        <p:xfrm>
          <a:off x="4584446" y="1162063"/>
          <a:ext cx="2100794" cy="7342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07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67143">
                <a:tc>
                  <a:txBody>
                    <a:bodyPr/>
                    <a:lstStyle/>
                    <a:p>
                      <a:pPr marL="0" indent="0" algn="r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DTI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7143">
                <a:tc>
                  <a:txBody>
                    <a:bodyPr/>
                    <a:lstStyle/>
                    <a:p>
                      <a:pPr marL="0" indent="0" algn="r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oan Amount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3641955"/>
              </p:ext>
            </p:extLst>
          </p:nvPr>
        </p:nvGraphicFramePr>
        <p:xfrm>
          <a:off x="6717389" y="1965268"/>
          <a:ext cx="1655673" cy="41002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67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1 year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2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3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4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5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6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7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8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9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002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10+ years*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4336937" y="6515961"/>
            <a:ext cx="5762025" cy="473761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200" dirty="0" smtClean="0"/>
              <a:t>* Indicates significant difference at 95% confidence level.</a:t>
            </a:r>
            <a:endParaRPr lang="en-US" altLang="en-US" sz="1200" dirty="0" smtClean="0"/>
          </a:p>
          <a:p>
            <a:pPr marL="107950" indent="0"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200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7324622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98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iagnostics – Fitting A Logistic </a:t>
            </a:r>
            <a:r>
              <a:rPr lang="en-US" noProof="1" smtClean="0"/>
              <a:t>Regression (again)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10863" y="1604242"/>
            <a:ext cx="2873526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Multicollinearity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3764815"/>
              </p:ext>
            </p:extLst>
          </p:nvPr>
        </p:nvGraphicFramePr>
        <p:xfrm>
          <a:off x="436728" y="1932530"/>
          <a:ext cx="2934269" cy="143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39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802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11042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VIF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.0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1518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 Loan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.0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0393">
                <a:tc>
                  <a:txBody>
                    <a:bodyPr/>
                    <a:lstStyle/>
                    <a:p>
                      <a:pPr algn="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Employment Length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.0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3521122" y="1620859"/>
            <a:ext cx="5459095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Goodness of Fit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Interaction LR Test:		XXX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McFadden’s </a:t>
            </a:r>
            <a:r>
              <a:rPr lang="en-US" altLang="en-US" sz="1800" dirty="0" smtClean="0"/>
              <a:t>R2:	</a:t>
            </a:r>
            <a:r>
              <a:rPr lang="en-US" altLang="en-US" sz="1800" dirty="0" smtClean="0"/>
              <a:t>	0.503</a:t>
            </a:r>
            <a:endParaRPr lang="en-US" altLang="en-US" sz="1800" dirty="0" smtClean="0"/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3521122" y="2854037"/>
            <a:ext cx="5459095" cy="645098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b="1" dirty="0" smtClean="0">
                <a:solidFill>
                  <a:schemeClr val="accent2"/>
                </a:solidFill>
              </a:rPr>
              <a:t>Influential Points (Cook’s Distance)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Zero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1.</a:t>
            </a:r>
          </a:p>
          <a:p>
            <a:pPr marL="393700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~7% of data points with D</a:t>
            </a:r>
            <a:r>
              <a:rPr lang="en-US" altLang="en-US" sz="1800" baseline="-25000" dirty="0" smtClean="0"/>
              <a:t>i</a:t>
            </a:r>
            <a:r>
              <a:rPr lang="en-US" altLang="en-US" sz="1800" dirty="0" smtClean="0"/>
              <a:t> &gt; 4/n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Removing influential pts. decrease AIC by 6.3%.</a:t>
            </a:r>
          </a:p>
          <a:p>
            <a:pPr marL="850900" lvl="1" indent="-285750">
              <a:spcBef>
                <a:spcPts val="0"/>
              </a:spcBef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Practical and statistical significance remain unchanged.</a:t>
            </a:r>
          </a:p>
        </p:txBody>
      </p:sp>
    </p:spTree>
    <p:extLst>
      <p:ext uri="{BB962C8B-B14F-4D97-AF65-F5344CB8AC3E}">
        <p14:creationId xmlns:p14="http://schemas.microsoft.com/office/powerpoint/2010/main" val="273522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Conclusion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42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conclus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278794" y="1427653"/>
            <a:ext cx="8216814" cy="4989513"/>
          </a:xfrm>
          <a:prstGeom prst="rect">
            <a:avLst/>
          </a:prstGeom>
          <a:ln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Limitations</a:t>
            </a:r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FICO is most likely a confounder.  Obtaining this data </a:t>
            </a:r>
            <a:r>
              <a:rPr lang="en-US" altLang="en-US" sz="1800" dirty="0" smtClean="0"/>
              <a:t>would significantly improve the analysis</a:t>
            </a:r>
            <a:r>
              <a:rPr lang="en-US" altLang="en-US" sz="1800" dirty="0" smtClean="0"/>
              <a:t>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How </a:t>
            </a:r>
            <a:r>
              <a:rPr lang="en-US" altLang="en-US" sz="1800" dirty="0" smtClean="0"/>
              <a:t>does one get a loan?</a:t>
            </a:r>
          </a:p>
          <a:p>
            <a:pPr marL="908050" lvl="1" indent="-342900">
              <a:buSzPct val="104000"/>
              <a:buFont typeface="+mj-lt"/>
              <a:buAutoNum type="arabicPeriod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Have a job: </a:t>
            </a:r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Be employed for at least 1 full </a:t>
            </a:r>
            <a:r>
              <a:rPr lang="en-US" altLang="en-US" sz="1800" dirty="0" smtClean="0"/>
              <a:t>year. </a:t>
            </a:r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And if it’s 5 years, then lie.</a:t>
            </a:r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Your </a:t>
            </a:r>
            <a:r>
              <a:rPr lang="en-US" altLang="en-US" sz="1800" dirty="0"/>
              <a:t>odds-ratio increases </a:t>
            </a:r>
            <a:r>
              <a:rPr lang="en-US" altLang="en-US" sz="1800" dirty="0" smtClean="0"/>
              <a:t>by a factor of at least 118!</a:t>
            </a:r>
            <a:endParaRPr lang="en-US" altLang="en-US" sz="1800" dirty="0" smtClean="0"/>
          </a:p>
          <a:p>
            <a:pPr marL="908050" lvl="1" indent="-342900">
              <a:buSzPct val="104000"/>
              <a:buFont typeface="+mj-lt"/>
              <a:buAutoNum type="arabicPeriod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Be reasonable:</a:t>
            </a:r>
            <a:endParaRPr lang="en-US" altLang="en-US" sz="1800" dirty="0"/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Debt-to-Income Ratio </a:t>
            </a:r>
            <a:r>
              <a:rPr lang="en-US" altLang="en-US" sz="1800" dirty="0" smtClean="0"/>
              <a:t>&lt; 10,000 (likely automatic cap).</a:t>
            </a:r>
            <a:endParaRPr lang="en-US" altLang="en-US" dirty="0"/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Requested Loan Amount </a:t>
            </a:r>
            <a:r>
              <a:rPr lang="en-US" altLang="en-US" sz="1800" dirty="0" smtClean="0"/>
              <a:t>&lt;= </a:t>
            </a:r>
            <a:r>
              <a:rPr lang="en-US" altLang="en-US" sz="1800" dirty="0" smtClean="0"/>
              <a:t>$40,000.</a:t>
            </a:r>
            <a:endParaRPr lang="en-US" altLang="en-US" sz="1800" dirty="0"/>
          </a:p>
          <a:p>
            <a:pPr marL="1365250" lvl="2" indent="-342900">
              <a:buSzPct val="104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/>
              <a:t>Interaction (DTI * Loan </a:t>
            </a:r>
            <a:r>
              <a:rPr lang="en-US" altLang="en-US" sz="1800" dirty="0" err="1"/>
              <a:t>Amt</a:t>
            </a:r>
            <a:r>
              <a:rPr lang="en-US" altLang="en-US" sz="1800" dirty="0"/>
              <a:t>) </a:t>
            </a:r>
            <a:r>
              <a:rPr lang="en-US" altLang="en-US" sz="1800" dirty="0" smtClean="0"/>
              <a:t>&lt; 249,725,025.</a:t>
            </a:r>
            <a:endParaRPr lang="en-US" altLang="en-US" sz="1800" dirty="0"/>
          </a:p>
          <a:p>
            <a:pPr marL="908050" lvl="1" indent="-342900">
              <a:buSzPct val="104000"/>
              <a:buFont typeface="+mj-lt"/>
              <a:buAutoNum type="arabicPeriod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Increase your income, lower your debt</a:t>
            </a:r>
            <a:r>
              <a:rPr lang="en-US" altLang="en-US" sz="1800" dirty="0" smtClean="0"/>
              <a:t>.</a:t>
            </a:r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800" dirty="0" smtClean="0"/>
              <a:t>There could be some untapped potential in consumers who have &lt; 1 year of employment; or the LC could be vetting wisely.</a:t>
            </a:r>
            <a:endParaRPr lang="en-US" altLang="en-US" sz="1800" dirty="0" smtClean="0"/>
          </a:p>
          <a:p>
            <a:pPr marL="431800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800" dirty="0" smtClean="0"/>
          </a:p>
          <a:p>
            <a:pPr marL="1346200" lvl="2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800" dirty="0" smtClean="0"/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800" dirty="0" smtClean="0"/>
          </a:p>
          <a:p>
            <a:pPr marL="889000" lvl="1" indent="-323850">
              <a:buSzPct val="45000"/>
              <a:buFont typeface="Wingdings" charset="2"/>
              <a:buChar char="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en-US" altLang="en-US" sz="18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2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How to Get a Loan: </a:t>
            </a:r>
            <a:r>
              <a:rPr lang="en-US" sz="3000" b="1" dirty="0" smtClean="0">
                <a:solidFill>
                  <a:schemeClr val="bg1"/>
                </a:solidFill>
              </a:rPr>
              <a:t>Appendix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67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285999" y="2828836"/>
            <a:ext cx="58189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osmer-</a:t>
            </a:r>
            <a:r>
              <a:rPr lang="en-US" altLang="en-US" dirty="0" err="1"/>
              <a:t>Lemeshow</a:t>
            </a:r>
            <a:r>
              <a:rPr lang="en-US" altLang="en-US" dirty="0"/>
              <a:t> - large sample:	p-value &lt; 0.001</a:t>
            </a:r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Hosmer-</a:t>
            </a:r>
            <a:r>
              <a:rPr lang="en-US" altLang="en-US" dirty="0" err="1"/>
              <a:t>Lemeshow</a:t>
            </a:r>
            <a:r>
              <a:rPr lang="en-US" altLang="en-US" dirty="0"/>
              <a:t>* - small sample:	</a:t>
            </a:r>
            <a:r>
              <a:rPr lang="en-US" altLang="en-US" dirty="0" smtClean="0"/>
              <a:t>p-value 0.29</a:t>
            </a:r>
            <a:endParaRPr lang="en-US" altLang="en-US" dirty="0"/>
          </a:p>
          <a:p>
            <a:pPr marL="107950" indent="0">
              <a:spcBef>
                <a:spcPts val="0"/>
              </a:spcBef>
              <a:buSzPct val="4500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dirty="0"/>
              <a:t>* REFERENCE</a:t>
            </a:r>
          </a:p>
        </p:txBody>
      </p:sp>
    </p:spTree>
    <p:extLst>
      <p:ext uri="{BB962C8B-B14F-4D97-AF65-F5344CB8AC3E}">
        <p14:creationId xmlns:p14="http://schemas.microsoft.com/office/powerpoint/2010/main" val="213755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392457" y="0"/>
            <a:ext cx="3196530" cy="6877050"/>
          </a:xfrm>
          <a:prstGeom prst="rect">
            <a:avLst/>
          </a:prstGeom>
          <a:solidFill>
            <a:srgbClr val="595959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800000" rIns="180000" bIns="0" rtlCol="0" anchor="t"/>
          <a:lstStyle/>
          <a:p>
            <a:pPr algn="ctr">
              <a:lnSpc>
                <a:spcPct val="90000"/>
              </a:lnSpc>
            </a:pPr>
            <a:r>
              <a:rPr lang="en-US" altLang="en-US" b="1" i="1" dirty="0" smtClean="0"/>
              <a:t>“</a:t>
            </a:r>
            <a:r>
              <a:rPr lang="en-US" altLang="en-US" b="1" i="1" dirty="0"/>
              <a:t>Lending Club’s platform has the potential to profoundly transform traditional banking over the next decade.” </a:t>
            </a:r>
            <a:endParaRPr lang="en-US" altLang="en-US" b="1" i="1" dirty="0" smtClean="0"/>
          </a:p>
          <a:p>
            <a:pPr algn="ctr">
              <a:lnSpc>
                <a:spcPct val="90000"/>
              </a:lnSpc>
            </a:pPr>
            <a:r>
              <a:rPr lang="en-US" altLang="en-US" b="1" dirty="0" smtClean="0"/>
              <a:t>- </a:t>
            </a:r>
            <a:r>
              <a:rPr lang="en-US" altLang="en-US" b="1" dirty="0" smtClean="0"/>
              <a:t>Larry Summers, Former US Treasury Secretary</a:t>
            </a:r>
          </a:p>
          <a:p>
            <a:pPr marL="285750" indent="-285750" algn="ctr">
              <a:lnSpc>
                <a:spcPct val="90000"/>
              </a:lnSpc>
              <a:buFontTx/>
              <a:buChar char="-"/>
            </a:pPr>
            <a:endParaRPr lang="en-US" altLang="en-US" b="1" dirty="0" smtClean="0"/>
          </a:p>
          <a:p>
            <a:pPr marL="285750" indent="-285750" algn="ctr">
              <a:lnSpc>
                <a:spcPct val="90000"/>
              </a:lnSpc>
              <a:buFontTx/>
              <a:buChar char="-"/>
            </a:pPr>
            <a:endParaRPr lang="en-US" altLang="en-US" b="1" dirty="0"/>
          </a:p>
          <a:p>
            <a:pPr algn="ctr">
              <a:lnSpc>
                <a:spcPct val="90000"/>
              </a:lnSpc>
            </a:pPr>
            <a:r>
              <a:rPr lang="en-US" b="1" i="1" dirty="0" smtClean="0"/>
              <a:t>“The </a:t>
            </a:r>
            <a:r>
              <a:rPr lang="en-US" b="1" i="1" dirty="0"/>
              <a:t>math pitch involves the increased efficiency of cutting out the banks, allowing relatively lower rates for borrowers and good returns for lenders</a:t>
            </a:r>
            <a:r>
              <a:rPr lang="en-US" b="1" i="1" dirty="0" smtClean="0"/>
              <a:t>.”</a:t>
            </a:r>
            <a:endParaRPr lang="en-US" altLang="en-US" b="1" i="1" dirty="0"/>
          </a:p>
          <a:p>
            <a:pPr algn="ctr">
              <a:lnSpc>
                <a:spcPct val="90000"/>
              </a:lnSpc>
            </a:pPr>
            <a:r>
              <a:rPr lang="en-US" b="1" dirty="0" smtClean="0">
                <a:solidFill>
                  <a:srgbClr val="FFFFFF"/>
                </a:solidFill>
              </a:rPr>
              <a:t>- </a:t>
            </a:r>
            <a:r>
              <a:rPr lang="en-US" b="1" dirty="0" smtClean="0">
                <a:solidFill>
                  <a:srgbClr val="FFFFFF"/>
                </a:solidFill>
              </a:rPr>
              <a:t>New York Times</a:t>
            </a:r>
            <a:endParaRPr lang="en-US" b="1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392457" y="-13650"/>
            <a:ext cx="3196530" cy="141936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794079" y="1569506"/>
            <a:ext cx="503602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400"/>
            </a:lvl1pPr>
          </a:lstStyle>
          <a:p>
            <a:r>
              <a:rPr lang="en-US" altLang="en-US" sz="1600" dirty="0" smtClean="0"/>
              <a:t>DESCRIPTION:</a:t>
            </a:r>
            <a:endParaRPr lang="en-US" altLang="en-US" sz="1600" dirty="0"/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 smtClean="0"/>
              <a:t>A peer-to-peer </a:t>
            </a:r>
            <a:r>
              <a:rPr lang="en-US" altLang="en-US" sz="1600" dirty="0"/>
              <a:t>lending company, headquartered in San Francisco, </a:t>
            </a:r>
            <a:r>
              <a:rPr lang="en-US" altLang="en-US" sz="1600" dirty="0" smtClean="0"/>
              <a:t>California and founded in 2006. </a:t>
            </a:r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 smtClean="0"/>
              <a:t>The </a:t>
            </a:r>
            <a:r>
              <a:rPr lang="en-US" altLang="en-US" sz="1600" dirty="0"/>
              <a:t>world’s largest online credit marketplace, facilitating personal loans, business loans, </a:t>
            </a:r>
            <a:r>
              <a:rPr lang="en-US" altLang="en-US" sz="1600" dirty="0" smtClean="0"/>
              <a:t>medical financing, etc.</a:t>
            </a:r>
            <a:endParaRPr lang="en-US" altLang="en-US" sz="1600" dirty="0"/>
          </a:p>
          <a:p>
            <a:pPr marL="393700" indent="-285750">
              <a:buFont typeface="Arial" panose="020B0604020202020204" pitchFamily="34" charset="0"/>
              <a:buChar char="•"/>
            </a:pPr>
            <a:r>
              <a:rPr lang="en-US" altLang="en-US" sz="1600" dirty="0"/>
              <a:t>Loans funded to date: </a:t>
            </a:r>
            <a:r>
              <a:rPr lang="en-US" altLang="en-US" sz="1600" dirty="0" smtClean="0"/>
              <a:t>over $22 billion</a:t>
            </a:r>
          </a:p>
          <a:p>
            <a:endParaRPr lang="en-US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3794079" y="3757428"/>
            <a:ext cx="503602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/>
              <a:t>HOW IT WORKS: </a:t>
            </a:r>
            <a:r>
              <a:rPr lang="en-US" altLang="en-US" sz="1600" dirty="0" smtClean="0"/>
              <a:t> </a:t>
            </a:r>
            <a:endParaRPr lang="en-US" altLang="en-US" sz="1600" dirty="0"/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Potential customers complete brief application online.</a:t>
            </a:r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Lending Club digitally assesses the risk, credit rating and interest rates, and then sends qualified applicants an offer.</a:t>
            </a:r>
          </a:p>
          <a:p>
            <a:pPr marL="431800" indent="-323850">
              <a:buSzPct val="45000"/>
              <a:buFont typeface="Arial" panose="020B0604020202020204" pitchFamily="34" charset="0"/>
              <a:buChar char="•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1600" dirty="0" smtClean="0"/>
              <a:t>Investors ranging from individuals to institutions select loans in which to invest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94079" y="780556"/>
            <a:ext cx="50360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" indent="0"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en-US" altLang="en-US" sz="4000" dirty="0">
                <a:solidFill>
                  <a:schemeClr val="accent2"/>
                </a:solidFill>
                <a:latin typeface="Bebas Neue" panose="020B0506020202020201" pitchFamily="34" charset="0"/>
              </a:rPr>
              <a:t>What is the lending Club?</a:t>
            </a:r>
          </a:p>
        </p:txBody>
      </p:sp>
    </p:spTree>
    <p:extLst>
      <p:ext uri="{BB962C8B-B14F-4D97-AF65-F5344CB8AC3E}">
        <p14:creationId xmlns:p14="http://schemas.microsoft.com/office/powerpoint/2010/main" val="248527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2044269"/>
              </p:ext>
            </p:extLst>
          </p:nvPr>
        </p:nvGraphicFramePr>
        <p:xfrm>
          <a:off x="559553" y="1613005"/>
          <a:ext cx="3603015" cy="5000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58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78568"/>
                <a:gridCol w="1278568"/>
              </a:tblGrid>
              <a:tr h="416705">
                <a:tc>
                  <a:txBody>
                    <a:bodyPr/>
                    <a:lstStyle/>
                    <a:p>
                      <a:pPr algn="r"/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/>
                          </a:solidFill>
                        </a:rPr>
                        <a:t>% Applied</a:t>
                      </a:r>
                      <a:endParaRPr lang="en-US" sz="1600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accent2"/>
                          </a:solidFill>
                        </a:rPr>
                        <a:t>% Have Loan</a:t>
                      </a:r>
                      <a:endParaRPr lang="en-US" sz="1600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&lt; 1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74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8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</a:t>
                      </a:r>
                      <a:r>
                        <a:rPr lang="en-US" sz="1600" b="1" baseline="0" dirty="0" smtClean="0">
                          <a:solidFill>
                            <a:schemeClr val="tx2"/>
                          </a:solidFill>
                        </a:rPr>
                        <a:t>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7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2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9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3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2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8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4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6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5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8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7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6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5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7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5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8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5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9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4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0+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6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2"/>
                          </a:solidFill>
                        </a:rPr>
                        <a:t>31%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892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4067033"/>
            <a:ext cx="9144000" cy="1101815"/>
          </a:xfrm>
          <a:solidFill>
            <a:srgbClr val="595959"/>
          </a:solidFill>
        </p:spPr>
        <p:txBody>
          <a:bodyPr anchor="ctr"/>
          <a:lstStyle/>
          <a:p>
            <a:r>
              <a:rPr lang="en-US" sz="3000" b="1" dirty="0" smtClean="0">
                <a:solidFill>
                  <a:schemeClr val="bg1"/>
                </a:solidFill>
              </a:rPr>
              <a:t>    </a:t>
            </a:r>
            <a:r>
              <a:rPr lang="en-US" sz="3000" b="1" dirty="0" smtClean="0">
                <a:solidFill>
                  <a:schemeClr val="bg1"/>
                </a:solidFill>
              </a:rPr>
              <a:t>Inference: Which Factors Matter Most?</a:t>
            </a:r>
            <a:endParaRPr lang="en-US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97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Data Description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136292"/>
              </p:ext>
            </p:extLst>
          </p:nvPr>
        </p:nvGraphicFramePr>
        <p:xfrm>
          <a:off x="415583" y="1483952"/>
          <a:ext cx="8302389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8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160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7446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8027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Variabl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scription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Note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rgbClr val="808080"/>
                          </a:solidFill>
                        </a:rPr>
                        <a:t>Status</a:t>
                      </a:r>
                      <a:endParaRPr lang="en-US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808080"/>
                          </a:solidFill>
                        </a:rPr>
                        <a:t>Grant</a:t>
                      </a:r>
                      <a:r>
                        <a:rPr lang="en-US" baseline="0" dirty="0" smtClean="0">
                          <a:solidFill>
                            <a:srgbClr val="808080"/>
                          </a:solidFill>
                        </a:rPr>
                        <a:t>ed a Loan or Rejected</a:t>
                      </a:r>
                      <a:endParaRPr lang="en-US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808080"/>
                          </a:solidFill>
                        </a:rPr>
                        <a:t>Outcome Variable</a:t>
                      </a:r>
                      <a:endParaRPr lang="en-US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9015776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Loan Amount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Amount Requested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(and Granted) by Borrower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Full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Amounts are Usually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 D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ate of Application or Loan Granted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~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7 Days Differenc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Debt-to-Income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Ratio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Monthly Debt Payments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/ Monthly Incom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xcludes Mortgag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Employment</a:t>
                      </a:r>
                      <a:r>
                        <a:rPr lang="en-US" baseline="0" dirty="0" smtClean="0">
                          <a:solidFill>
                            <a:schemeClr val="accent2"/>
                          </a:solidFill>
                        </a:rPr>
                        <a:t> Length in Years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Stat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2"/>
                          </a:solidFill>
                        </a:rPr>
                        <a:t>Zip Code</a:t>
                      </a:r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85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33028" y="1209888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DTI</a:t>
            </a:r>
            <a:endParaRPr lang="en-US" sz="2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4110263" y="1209888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Loan Amount</a:t>
            </a:r>
            <a:endParaRPr lang="en-US" sz="22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6678314" y="979055"/>
            <a:ext cx="203288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/>
              <a:t>Interaction </a:t>
            </a:r>
          </a:p>
          <a:p>
            <a:pPr algn="ctr"/>
            <a:r>
              <a:rPr lang="en-US" sz="1500" dirty="0" smtClean="0"/>
              <a:t>(DTI x Loan Amount)</a:t>
            </a:r>
            <a:endParaRPr lang="en-US" sz="1500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6024116"/>
            <a:ext cx="1801131" cy="799763"/>
          </a:xfrm>
          <a:prstGeom prst="rect">
            <a:avLst/>
          </a:prstGeom>
        </p:spPr>
      </p:pic>
      <p:pic>
        <p:nvPicPr>
          <p:cNvPr id="1027" name="Picture 3" descr="C:\Users\malena.rubino\AppData\Local\Temp\wze3fa\DTI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8" t="14677" r="3869" b="11407"/>
          <a:stretch/>
        </p:blipFill>
        <p:spPr bwMode="auto">
          <a:xfrm>
            <a:off x="1039972" y="1591275"/>
            <a:ext cx="2453868" cy="2079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malena.rubino\AppData\Local\Temp\wzb8a6\dti_log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45" t="15341" r="2374" b="12724"/>
          <a:stretch/>
        </p:blipFill>
        <p:spPr bwMode="auto">
          <a:xfrm>
            <a:off x="1039972" y="4067023"/>
            <a:ext cx="2570909" cy="2071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malena.rubino\AppData\Local\Temp\wz192d\loan_amt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88" t="15341" r="2375" b="12724"/>
          <a:stretch/>
        </p:blipFill>
        <p:spPr bwMode="auto">
          <a:xfrm>
            <a:off x="3712199" y="1591275"/>
            <a:ext cx="2546812" cy="2016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malena.rubino\AppData\Local\Temp\wz451c\loan_amnt_log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8" t="15342" r="2374" b="12335"/>
          <a:stretch/>
        </p:blipFill>
        <p:spPr bwMode="auto">
          <a:xfrm>
            <a:off x="3712199" y="4067023"/>
            <a:ext cx="2512918" cy="2058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malena.rubino\AppData\Local\Temp\wz8f46\interaction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8" t="15342" r="2376" b="13114"/>
          <a:stretch/>
        </p:blipFill>
        <p:spPr bwMode="auto">
          <a:xfrm>
            <a:off x="6447643" y="1591275"/>
            <a:ext cx="2494228" cy="2021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malena.rubino\AppData\Local\Temp\wz9edf\int_log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82" t="17610" r="5049" b="13405"/>
          <a:stretch/>
        </p:blipFill>
        <p:spPr bwMode="auto">
          <a:xfrm>
            <a:off x="6331593" y="4067023"/>
            <a:ext cx="2569334" cy="2071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-150128" y="3728469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 b="1" dirty="0" smtClean="0">
                <a:solidFill>
                  <a:schemeClr val="accent1"/>
                </a:solidFill>
              </a:rPr>
              <a:t>Log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-109165" y="1333824"/>
            <a:ext cx="17605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 b="1" dirty="0" smtClean="0">
                <a:solidFill>
                  <a:schemeClr val="accent1"/>
                </a:solidFill>
              </a:rPr>
              <a:t>Original</a:t>
            </a:r>
            <a:endParaRPr lang="en-US" sz="2200" b="1" dirty="0">
              <a:solidFill>
                <a:schemeClr val="accent1"/>
              </a:solidFill>
            </a:endParaRPr>
          </a:p>
        </p:txBody>
      </p:sp>
      <p:sp>
        <p:nvSpPr>
          <p:cNvPr id="6" name="Left Arrow 5"/>
          <p:cNvSpPr/>
          <p:nvPr/>
        </p:nvSpPr>
        <p:spPr>
          <a:xfrm rot="18914103">
            <a:off x="4738060" y="2014789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Left Arrow 20"/>
          <p:cNvSpPr/>
          <p:nvPr/>
        </p:nvSpPr>
        <p:spPr>
          <a:xfrm rot="18914103">
            <a:off x="7564922" y="2014789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Left Arrow 21"/>
          <p:cNvSpPr/>
          <p:nvPr/>
        </p:nvSpPr>
        <p:spPr>
          <a:xfrm rot="21004117">
            <a:off x="2055367" y="4405421"/>
            <a:ext cx="504967" cy="268805"/>
          </a:xfrm>
          <a:prstGeom prst="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64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1188" y="1361199"/>
            <a:ext cx="2866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mployment Length</a:t>
            </a:r>
            <a:endParaRPr lang="en-US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4358168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onth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301542" y="1361199"/>
            <a:ext cx="20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Year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13" name="_color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065346"/>
              </p:ext>
            </p:extLst>
          </p:nvPr>
        </p:nvGraphicFramePr>
        <p:xfrm>
          <a:off x="1478442" y="1735835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9718349"/>
              </p:ext>
            </p:extLst>
          </p:nvPr>
        </p:nvGraphicFramePr>
        <p:xfrm>
          <a:off x="415584" y="1735837"/>
          <a:ext cx="1072026" cy="4583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0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&lt; 1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</a:t>
                      </a:r>
                      <a:r>
                        <a:rPr lang="en-US" sz="1600" b="1" baseline="0" dirty="0" smtClean="0">
                          <a:solidFill>
                            <a:schemeClr val="tx2"/>
                          </a:solidFill>
                        </a:rPr>
                        <a:t> year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3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4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5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6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7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8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9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10+ years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aphicFrame>
        <p:nvGraphicFramePr>
          <p:cNvPr id="23" name="_color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536919"/>
              </p:ext>
            </p:extLst>
          </p:nvPr>
        </p:nvGraphicFramePr>
        <p:xfrm>
          <a:off x="4453688" y="1754332"/>
          <a:ext cx="2695165" cy="4583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977296"/>
              </p:ext>
            </p:extLst>
          </p:nvPr>
        </p:nvGraphicFramePr>
        <p:xfrm>
          <a:off x="3657600" y="1754334"/>
          <a:ext cx="791608" cy="4565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6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an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Feb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March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April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May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une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July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Aug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Sept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Oct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Nov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80438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Dec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graphicFrame>
        <p:nvGraphicFramePr>
          <p:cNvPr id="25" name="_color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6942110"/>
              </p:ext>
            </p:extLst>
          </p:nvPr>
        </p:nvGraphicFramePr>
        <p:xfrm>
          <a:off x="7366243" y="1763309"/>
          <a:ext cx="2695165" cy="4167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617559"/>
              </p:ext>
            </p:extLst>
          </p:nvPr>
        </p:nvGraphicFramePr>
        <p:xfrm>
          <a:off x="6660107" y="1763311"/>
          <a:ext cx="715304" cy="4167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30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7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8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09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0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1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2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3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4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5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670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2016</a:t>
                      </a:r>
                      <a:endParaRPr lang="en-US" sz="16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0653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Exploratory Data analysi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4836" y="1552271"/>
            <a:ext cx="55136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smtClean="0"/>
              <a:t>A Confounder: FICO Score</a:t>
            </a:r>
            <a:endParaRPr lang="en-US" sz="22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pic>
        <p:nvPicPr>
          <p:cNvPr id="2050" name="Picture 2" descr="C:\Users\malena.rubino\AppData\Local\Temp\wz15d3\fico_hist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6" t="17201" r="3906" b="14281"/>
          <a:stretch/>
        </p:blipFill>
        <p:spPr bwMode="auto">
          <a:xfrm>
            <a:off x="1267294" y="2043599"/>
            <a:ext cx="6633888" cy="3920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5513684" y="1767714"/>
            <a:ext cx="45719" cy="336384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570567" y="1486876"/>
            <a:ext cx="36826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FF0000"/>
                </a:solidFill>
              </a:rPr>
              <a:t>Average National FICO Score: 695</a:t>
            </a:r>
            <a:endParaRPr lang="en-US" sz="1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78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 smtClean="0"/>
              <a:t>Logistic Regression </a:t>
            </a:r>
            <a:r>
              <a:rPr lang="en-US" noProof="1" smtClean="0"/>
              <a:t>(Logit) </a:t>
            </a:r>
            <a:r>
              <a:rPr lang="en-US" noProof="1" smtClean="0"/>
              <a:t>- Interpreta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5914932"/>
            <a:ext cx="1801131" cy="799763"/>
          </a:xfrm>
          <a:prstGeom prst="rect">
            <a:avLst/>
          </a:prstGeom>
        </p:spPr>
      </p:pic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3409921"/>
              </p:ext>
            </p:extLst>
          </p:nvPr>
        </p:nvGraphicFramePr>
        <p:xfrm>
          <a:off x="207788" y="1596789"/>
          <a:ext cx="8530709" cy="31595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49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32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13287"/>
                <a:gridCol w="15132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92589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00250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Coefficient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 smtClean="0">
                          <a:solidFill>
                            <a:schemeClr val="accent2"/>
                          </a:solidFill>
                        </a:rPr>
                        <a:t>exp</a:t>
                      </a:r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(B)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p-value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Interpretation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DTI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-0.0032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996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ne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unit increase in DTI decreases the odds-ratio by 0.4%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May seem small, but DTI unit can very (range is 0-9999  for grants)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Loan</a:t>
                      </a:r>
                      <a:r>
                        <a:rPr lang="en-US" sz="1400" b="1" baseline="0" dirty="0" smtClean="0">
                          <a:solidFill>
                            <a:schemeClr val="tx2"/>
                          </a:solidFill>
                        </a:rPr>
                        <a:t> Amount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0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704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The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loan amount is not indicative of the probability of receiving a loan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34542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2"/>
                          </a:solidFill>
                        </a:rPr>
                        <a:t>Interaction</a:t>
                      </a:r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 &lt; 0.0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0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0.00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The interaction term is statistically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significant, but holds no practical significance (very small effect size).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39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/>
          <a:lstStyle/>
          <a:p>
            <a:r>
              <a:rPr lang="en-US" noProof="1"/>
              <a:t>Logistic </a:t>
            </a:r>
            <a:r>
              <a:rPr lang="en-US" noProof="1" smtClean="0"/>
              <a:t>Regression </a:t>
            </a:r>
            <a:r>
              <a:rPr lang="en-US" noProof="1" smtClean="0"/>
              <a:t>(logit) </a:t>
            </a:r>
            <a:r>
              <a:rPr lang="en-US" noProof="1"/>
              <a:t>- Interpretatio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>
                <a:latin typeface="Calibri Light" panose="020F0302020204030204" pitchFamily="34" charset="0"/>
              </a:rPr>
              <a:t>How to Get a Loan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10" b="31687"/>
          <a:stretch/>
        </p:blipFill>
        <p:spPr>
          <a:xfrm>
            <a:off x="6916841" y="6092356"/>
            <a:ext cx="1801131" cy="799763"/>
          </a:xfrm>
          <a:prstGeom prst="rect">
            <a:avLst/>
          </a:prstGeom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169823"/>
              </p:ext>
            </p:extLst>
          </p:nvPr>
        </p:nvGraphicFramePr>
        <p:xfrm>
          <a:off x="207788" y="1320176"/>
          <a:ext cx="8530710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145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16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11644"/>
                <a:gridCol w="15116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4432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03908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Coefficient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 err="1" smtClean="0">
                          <a:solidFill>
                            <a:schemeClr val="accent2"/>
                          </a:solidFill>
                        </a:rPr>
                        <a:t>exp</a:t>
                      </a:r>
                      <a:r>
                        <a:rPr lang="en-US" sz="1600" baseline="0" dirty="0" smtClean="0">
                          <a:solidFill>
                            <a:schemeClr val="accent2"/>
                          </a:solidFill>
                        </a:rPr>
                        <a:t>(B)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p-value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2"/>
                          </a:solidFill>
                        </a:rPr>
                        <a:t>Interpretation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227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Employment (Baseline: 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 1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years)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 year: 4.77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2 years: 4.832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3 years: 4.85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4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years: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4.98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5 years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2.129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6 years: 4.898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7 years: 4.976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8 years: 5.039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9 years: 5.138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10+ years: 5.016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18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25.5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27.7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45.5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8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34.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44.9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54.3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70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50.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&lt;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Having less than 1 year of work experience is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detrimental to your chances of receiving a loan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t least 1 year(s) worth of experience increases the odds-ratio by a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multiple of 118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to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170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(with the exclusion of the 5-year anomaly). 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This variable has statistical and practical significance.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22700"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onth</a:t>
                      </a:r>
                    </a:p>
                    <a:p>
                      <a:pPr algn="r"/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(Baseline: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January)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Feb.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  0.135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r.  0.286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pr.   0.177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May   0.23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n.   0.18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Jul.    0.325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Aug.  0.31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p.  0.04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Oct.  0.478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Nov.  0.345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Dec.  0.02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1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3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2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3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2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6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4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004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469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&lt;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0.001</a:t>
                      </a:r>
                      <a:endParaRPr lang="en-US" sz="14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0.661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/>
                          </a:solidFill>
                        </a:rPr>
                        <a:t>Seasonality</a:t>
                      </a: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 plays a very small, almost trivial role in the chances of obtaining a loan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Very slight differences between winter vs. summer months.  Summer months increase odds-ratio by 0.4%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2"/>
                          </a:solidFill>
                        </a:rPr>
                        <a:t>Although there is statistical significance, there is no practical significance.  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3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Office Theme">
  <a:themeElements>
    <a:clrScheme name="Benutzerdefiniert 12">
      <a:dk1>
        <a:sysClr val="windowText" lastClr="000000"/>
      </a:dk1>
      <a:lt1>
        <a:sysClr val="window" lastClr="FFFFFF"/>
      </a:lt1>
      <a:dk2>
        <a:srgbClr val="262626"/>
      </a:dk2>
      <a:lt2>
        <a:srgbClr val="FFFFFF"/>
      </a:lt2>
      <a:accent1>
        <a:srgbClr val="2890C4"/>
      </a:accent1>
      <a:accent2>
        <a:srgbClr val="6B9B1A"/>
      </a:accent2>
      <a:accent3>
        <a:srgbClr val="FB9B03"/>
      </a:accent3>
      <a:accent4>
        <a:srgbClr val="FBBE09"/>
      </a:accent4>
      <a:accent5>
        <a:srgbClr val="7E4E96"/>
      </a:accent5>
      <a:accent6>
        <a:srgbClr val="C00000"/>
      </a:accent6>
      <a:hlink>
        <a:srgbClr val="C00000"/>
      </a:hlink>
      <a:folHlink>
        <a:srgbClr val="000000"/>
      </a:folHlink>
    </a:clrScheme>
    <a:fontScheme name="Benutzerdefiniert 2">
      <a:majorFont>
        <a:latin typeface="Bebas Neue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38</TotalTime>
  <Words>1284</Words>
  <Application>Microsoft Office PowerPoint</Application>
  <PresentationFormat>On-screen Show (4:3)</PresentationFormat>
  <Paragraphs>349</Paragraphs>
  <Slides>20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alibri</vt:lpstr>
      <vt:lpstr>Calibri Light</vt:lpstr>
      <vt:lpstr>Wingdings</vt:lpstr>
      <vt:lpstr>Bebas Neue</vt:lpstr>
      <vt:lpstr>Office Theme</vt:lpstr>
      <vt:lpstr>Lending Club</vt:lpstr>
      <vt:lpstr>PowerPoint Presentation</vt:lpstr>
      <vt:lpstr>PowerPoint Presentation</vt:lpstr>
      <vt:lpstr>Data Descriptions</vt:lpstr>
      <vt:lpstr>Exploratory Data analysis</vt:lpstr>
      <vt:lpstr>Exploratory Data analysis</vt:lpstr>
      <vt:lpstr>Exploratory Data analysis</vt:lpstr>
      <vt:lpstr>Logistic Regression (Logit) - Interpretation</vt:lpstr>
      <vt:lpstr>Logistic Regression (logit) - Interpretation</vt:lpstr>
      <vt:lpstr>Diagnostics – Fitting A Logistic Regression</vt:lpstr>
      <vt:lpstr>PowerPoint Presentation</vt:lpstr>
      <vt:lpstr>Prediction</vt:lpstr>
      <vt:lpstr>PowerPoint Presentation</vt:lpstr>
      <vt:lpstr>validation</vt:lpstr>
      <vt:lpstr>Diagnostics – Fitting A Logistic Regression (again)</vt:lpstr>
      <vt:lpstr>PowerPoint Presentation</vt:lpstr>
      <vt:lpstr>conclusion</vt:lpstr>
      <vt:lpstr>PowerPoint Presentation</vt:lpstr>
      <vt:lpstr>Appendix</vt:lpstr>
      <vt:lpstr>PowerPoint Presentation</vt:lpstr>
    </vt:vector>
  </TitlesOfParts>
  <Company>Presentationload GmbH</Company>
  <LinksUpToDate>false</LinksUpToDate>
  <SharedDoc>false</SharedDoc>
  <HyperlinkBase>www.presentationload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001 Flat Design BASICS</dc:title>
  <dc:creator>PresentationLoad</dc:creator>
  <cp:keywords>PresentationLoad</cp:keywords>
  <dc:description>Professional PowerPoint templates for download</dc:description>
  <cp:lastModifiedBy>Rubino, Malena (GfK)</cp:lastModifiedBy>
  <cp:revision>1398</cp:revision>
  <dcterms:created xsi:type="dcterms:W3CDTF">2010-05-21T10:35:54Z</dcterms:created>
  <dcterms:modified xsi:type="dcterms:W3CDTF">2016-12-09T08:59:36Z</dcterms:modified>
</cp:coreProperties>
</file>